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2.xml" ContentType="application/vnd.openxmlformats-officedocument.drawingml.chart+xml"/>
  <Override PartName="/ppt/tags/tag10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</p:sldMasterIdLst>
  <p:notesMasterIdLst>
    <p:notesMasterId r:id="rId22"/>
  </p:notesMasterIdLst>
  <p:sldIdLst>
    <p:sldId id="264" r:id="rId5"/>
    <p:sldId id="261" r:id="rId6"/>
    <p:sldId id="300" r:id="rId7"/>
    <p:sldId id="302" r:id="rId8"/>
    <p:sldId id="301" r:id="rId9"/>
    <p:sldId id="299" r:id="rId10"/>
    <p:sldId id="271" r:id="rId11"/>
    <p:sldId id="293" r:id="rId12"/>
    <p:sldId id="274" r:id="rId13"/>
    <p:sldId id="280" r:id="rId14"/>
    <p:sldId id="282" r:id="rId15"/>
    <p:sldId id="277" r:id="rId16"/>
    <p:sldId id="275" r:id="rId17"/>
    <p:sldId id="288" r:id="rId18"/>
    <p:sldId id="289" r:id="rId19"/>
    <p:sldId id="287" r:id="rId20"/>
    <p:sldId id="270" r:id="rId21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0AA4D41-048F-A94C-A321-8E33C40A0504}">
          <p14:sldIdLst>
            <p14:sldId id="264"/>
            <p14:sldId id="261"/>
            <p14:sldId id="300"/>
            <p14:sldId id="302"/>
            <p14:sldId id="301"/>
            <p14:sldId id="299"/>
            <p14:sldId id="271"/>
            <p14:sldId id="293"/>
            <p14:sldId id="274"/>
            <p14:sldId id="280"/>
            <p14:sldId id="282"/>
            <p14:sldId id="277"/>
            <p14:sldId id="275"/>
            <p14:sldId id="288"/>
            <p14:sldId id="289"/>
            <p14:sldId id="287"/>
            <p14:sldId id="270"/>
          </p14:sldIdLst>
        </p14:section>
        <p14:section name="OTHER SLIDES" id="{83FFE285-0302-F54F-98CD-D86F7E35910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B21F30-DCAB-6CEF-6ABD-E3896835E96A}" name="Kenneth Olliff" initials="KO" userId="S::kenneth.a.olliff@slu.edu::1c791430-3a00-4571-80fd-0255561bd11a" providerId="AD"/>
  <p188:author id="{233E735E-EAD8-873C-724E-6345818D6BE2}" name="Jasmin Patel" initials="JP" userId="bad8287b7a375a2f" providerId="Windows Live"/>
  <p188:author id="{4FBD819B-4EA5-37FD-4EE1-7828DE5AEDBD}" name="Amy Breuer" initials="AB" userId="S::amy.breuer@slu.edu::2b57367e-b40f-4768-9720-3453c7e01e4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Breuer" initials="AB" lastIdx="2" clrIdx="0">
    <p:extLst>
      <p:ext uri="{19B8F6BF-5375-455C-9EA6-DF929625EA0E}">
        <p15:presenceInfo xmlns:p15="http://schemas.microsoft.com/office/powerpoint/2012/main" userId="S::amy.breuer@slu.edu::2b57367e-b40f-4768-9720-3453c7e01e45" providerId="AD"/>
      </p:ext>
    </p:extLst>
  </p:cmAuthor>
  <p:cmAuthor id="2" name="Anita Borgmeyer" initials="AB" lastIdx="2" clrIdx="1">
    <p:extLst>
      <p:ext uri="{19B8F6BF-5375-455C-9EA6-DF929625EA0E}">
        <p15:presenceInfo xmlns:p15="http://schemas.microsoft.com/office/powerpoint/2012/main" userId="S::anita.borgmeyer@slu.edu::8049e8b7-0288-4ccc-a388-631924b9a6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3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64"/>
    <p:restoredTop sz="95575"/>
  </p:normalViewPr>
  <p:slideViewPr>
    <p:cSldViewPr snapToGrid="0" snapToObjects="1">
      <p:cViewPr varScale="1">
        <p:scale>
          <a:sx n="106" d="100"/>
          <a:sy n="106" d="100"/>
        </p:scale>
        <p:origin x="1728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0087873463E-2"/>
          <c:y val="2.7310924369747899E-2"/>
          <c:w val="0.9771528998242531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0-8A41-B399-63215CFAB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0-8A41-B399-63215CFAB42A}"/>
                </c:ext>
              </c:extLst>
            </c:dLbl>
            <c:dLbl>
              <c:idx val="2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0-8A41-B399-63215CFAB42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0-8A41-B399-63215CFAB42A}"/>
                </c:ext>
              </c:extLst>
            </c:dLbl>
            <c:dLbl>
              <c:idx val="4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0F0-8A41-B399-63215CFAB42A}"/>
                </c:ext>
              </c:extLst>
            </c:dLbl>
            <c:dLbl>
              <c:idx val="5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0-8A41-B399-63215CFAB42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0-8A41-B399-63215CFAB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8940</c:v>
                </c:pt>
                <c:pt idx="1">
                  <c:v>31690</c:v>
                </c:pt>
                <c:pt idx="2">
                  <c:v>29209</c:v>
                </c:pt>
                <c:pt idx="3">
                  <c:v>30925</c:v>
                </c:pt>
                <c:pt idx="4">
                  <c:v>30837</c:v>
                </c:pt>
                <c:pt idx="5">
                  <c:v>37959</c:v>
                </c:pt>
                <c:pt idx="6">
                  <c:v>33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0F0-8A41-B399-63215CFAB42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0-8A41-B399-63215CFAB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0F0-8A41-B399-63215CFAB42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0-8A41-B399-63215CFAB42A}"/>
                </c:ext>
              </c:extLst>
            </c:dLbl>
            <c:dLbl>
              <c:idx val="3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0-8A41-B399-63215CFAB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0-8A41-B399-63215CFAB42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0-8A41-B399-63215CFAB42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0F0-8A41-B399-63215CFAB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454</c:v>
                </c:pt>
                <c:pt idx="1">
                  <c:v>8737</c:v>
                </c:pt>
                <c:pt idx="2">
                  <c:v>10905</c:v>
                </c:pt>
                <c:pt idx="3">
                  <c:v>13025</c:v>
                </c:pt>
                <c:pt idx="4">
                  <c:v>15180</c:v>
                </c:pt>
                <c:pt idx="5">
                  <c:v>15073</c:v>
                </c:pt>
                <c:pt idx="6">
                  <c:v>24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0F0-8A41-B399-63215CFAB4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8829231"/>
        <c:axId val="1"/>
      </c:barChart>
      <c:catAx>
        <c:axId val="1848829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3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8829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93416219270981E-2"/>
          <c:y val="2.2877254729432469E-2"/>
          <c:w val="0.97061316756145799"/>
          <c:h val="0.954245490541135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.5816164817749581</c:v>
                </c:pt>
                <c:pt idx="1">
                  <c:v>12.581616481774958</c:v>
                </c:pt>
                <c:pt idx="2">
                  <c:v>13.741616481774962</c:v>
                </c:pt>
                <c:pt idx="3">
                  <c:v>14.924816481774961</c:v>
                </c:pt>
                <c:pt idx="4">
                  <c:v>16.131680481774964</c:v>
                </c:pt>
                <c:pt idx="5">
                  <c:v>17.362681761774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20-A348-A984-FA2646F1A12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820-A348-A984-FA2646F1A12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2">
                  <c:v>0.68999999999999773</c:v>
                </c:pt>
                <c:pt idx="3">
                  <c:v>3.4500000000000028</c:v>
                </c:pt>
                <c:pt idx="4">
                  <c:v>11.120000000000005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20-A348-A984-FA2646F1A128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2">
                  <c:v>0.60000000000000142</c:v>
                </c:pt>
                <c:pt idx="3">
                  <c:v>2.0000000000000071</c:v>
                </c:pt>
                <c:pt idx="4">
                  <c:v>3.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820-A348-A984-FA2646F1A128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2">
                  <c:v>2.5</c:v>
                </c:pt>
                <c:pt idx="3">
                  <c:v>2</c:v>
                </c:pt>
                <c:pt idx="4">
                  <c:v>3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820-A348-A984-FA2646F1A128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2.2605255721955354E-2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820-A348-A984-FA2646F1A128}"/>
                </c:ext>
              </c:extLst>
            </c:dLbl>
            <c:dLbl>
              <c:idx val="4"/>
              <c:layout>
                <c:manualLayout>
                  <c:x val="0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820-A348-A984-FA2646F1A128}"/>
                </c:ext>
              </c:extLst>
            </c:dLbl>
            <c:dLbl>
              <c:idx val="5"/>
              <c:layout>
                <c:manualLayout>
                  <c:x val="0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2">
                  <c:v>1.2000000000000028</c:v>
                </c:pt>
                <c:pt idx="3">
                  <c:v>3</c:v>
                </c:pt>
                <c:pt idx="4">
                  <c:v>4.5999999999999943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820-A348-A984-FA2646F1A128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F$6</c:f>
              <c:numCache>
                <c:formatCode>General</c:formatCode>
                <c:ptCount val="6"/>
                <c:pt idx="2">
                  <c:v>0.5</c:v>
                </c:pt>
                <c:pt idx="3">
                  <c:v>1</c:v>
                </c:pt>
                <c:pt idx="4">
                  <c:v>3.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820-A348-A984-FA2646F1A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0600175"/>
        <c:axId val="1"/>
      </c:barChart>
      <c:lineChart>
        <c:grouping val="standard"/>
        <c:varyColors val="0"/>
        <c:ser>
          <c:idx val="6"/>
          <c:order val="6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7:$F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B820-A348-A984-FA2646F1A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600175"/>
        <c:axId val="1"/>
      </c:lineChart>
      <c:catAx>
        <c:axId val="17506001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.58161648177495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50600175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60A2C-B952-BE4D-B3FB-2A3BC27FC010}" type="datetimeFigureOut">
              <a:rPr lang="en-US" smtClean="0"/>
              <a:t>11/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35549-7BC4-3B4F-BA8E-5135FA6EF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33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35549-7BC4-3B4F-BA8E-5135FA6EF0F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392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97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526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5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237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4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622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61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639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1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13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23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508A42-C27C-204B-8411-EDC7466B5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836766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508A42-C27C-204B-8411-EDC7466B5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56B420-2589-5648-9F39-B4B57ADB4D12}" type="datetimeFigureOut">
              <a:rPr lang="en-US" smtClean="0"/>
              <a:t>11/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4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oleObject" Target="../embeddings/oleObject2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slideLayout" Target="../slideLayouts/slideLayout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50.xml"/><Relationship Id="rId21" Type="http://schemas.openxmlformats.org/officeDocument/2006/relationships/tags" Target="../tags/tag45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84" Type="http://schemas.openxmlformats.org/officeDocument/2006/relationships/oleObject" Target="../embeddings/oleObject3.bin"/><Relationship Id="rId16" Type="http://schemas.openxmlformats.org/officeDocument/2006/relationships/tags" Target="../tags/tag40.xml"/><Relationship Id="rId11" Type="http://schemas.openxmlformats.org/officeDocument/2006/relationships/tags" Target="../tags/tag35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5" Type="http://schemas.openxmlformats.org/officeDocument/2006/relationships/tags" Target="../tags/tag29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56" Type="http://schemas.openxmlformats.org/officeDocument/2006/relationships/tags" Target="../tags/tag80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77" Type="http://schemas.openxmlformats.org/officeDocument/2006/relationships/tags" Target="../tags/tag101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80" Type="http://schemas.openxmlformats.org/officeDocument/2006/relationships/tags" Target="../tags/tag104.xml"/><Relationship Id="rId85" Type="http://schemas.openxmlformats.org/officeDocument/2006/relationships/image" Target="../media/image6.emf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tags" Target="../tags/tag70.xml"/><Relationship Id="rId59" Type="http://schemas.openxmlformats.org/officeDocument/2006/relationships/tags" Target="../tags/tag83.xml"/><Relationship Id="rId67" Type="http://schemas.openxmlformats.org/officeDocument/2006/relationships/tags" Target="../tags/tag91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chart" Target="../charts/chart2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9" Type="http://schemas.openxmlformats.org/officeDocument/2006/relationships/tags" Target="../tags/tag63.xml"/><Relationship Id="rId34" Type="http://schemas.openxmlformats.org/officeDocument/2006/relationships/tags" Target="../tags/tag58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76" Type="http://schemas.openxmlformats.org/officeDocument/2006/relationships/tags" Target="../tags/tag100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2" Type="http://schemas.openxmlformats.org/officeDocument/2006/relationships/tags" Target="../tags/tag26.xml"/><Relationship Id="rId29" Type="http://schemas.openxmlformats.org/officeDocument/2006/relationships/tags" Target="../tags/tag53.xml"/><Relationship Id="rId24" Type="http://schemas.openxmlformats.org/officeDocument/2006/relationships/tags" Target="../tags/tag48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66" Type="http://schemas.openxmlformats.org/officeDocument/2006/relationships/tags" Target="../tags/tag90.xml"/><Relationship Id="rId61" Type="http://schemas.openxmlformats.org/officeDocument/2006/relationships/tags" Target="../tags/tag85.xml"/><Relationship Id="rId82" Type="http://schemas.openxmlformats.org/officeDocument/2006/relationships/tags" Target="../tags/tag10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18D286D8-5138-8F41-97CC-5B4E200735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49248"/>
            <a:ext cx="10160079" cy="441827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C768C6-62D4-4581-8B71-5737880F8F8C}"/>
              </a:ext>
            </a:extLst>
          </p:cNvPr>
          <p:cNvSpPr txBox="1"/>
          <p:nvPr/>
        </p:nvSpPr>
        <p:spPr>
          <a:xfrm>
            <a:off x="1687606" y="5293299"/>
            <a:ext cx="650165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RAFT Five Year Research Growth Plan, 2022-2027</a:t>
            </a:r>
          </a:p>
        </p:txBody>
      </p:sp>
    </p:spTree>
    <p:extLst>
      <p:ext uri="{BB962C8B-B14F-4D97-AF65-F5344CB8AC3E}">
        <p14:creationId xmlns:p14="http://schemas.microsoft.com/office/powerpoint/2010/main" val="4213854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2. RESEARCH STRENG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A72EC2-F7A5-C84E-80C5-74682694F5DF}"/>
              </a:ext>
            </a:extLst>
          </p:cNvPr>
          <p:cNvSpPr txBox="1"/>
          <p:nvPr/>
        </p:nvSpPr>
        <p:spPr>
          <a:xfrm>
            <a:off x="352096" y="1620279"/>
            <a:ext cx="8439807" cy="42473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/>
              <a:t>Big Ideas Institutes / University-wide </a:t>
            </a:r>
            <a:r>
              <a:rPr lang="en-US" b="1" i="1" dirty="0"/>
              <a:t>Centers of Excellence</a:t>
            </a:r>
            <a:endParaRPr lang="en-US" b="1" i="1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w Big Ideas through sustainable budget models including grant and enrollment revenue, IDC recovery, philanthropy, educational programs</a:t>
            </a:r>
          </a:p>
          <a:p>
            <a:endParaRPr lang="en-US" dirty="0"/>
          </a:p>
          <a:p>
            <a:r>
              <a:rPr lang="en-US" b="1" dirty="0"/>
              <a:t>College-Level </a:t>
            </a:r>
            <a:r>
              <a:rPr lang="en-US" b="1" i="1" dirty="0"/>
              <a:t>Centers of Excellence</a:t>
            </a:r>
            <a:endParaRPr lang="en-US" b="1" i="1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designation process to solidify existing streng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RI-College collaborations to incubate future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roll out of $10M Humanities Endow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Research Growth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oritize and invest in areas with high potential for growth in research funding and scholarly emin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r>
              <a:rPr lang="en-US" i="1" dirty="0"/>
              <a:t>Prioritize for faculty hiring, fundraising, communications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D5F167-9CD8-BE4E-AF69-C629D9FB0955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0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84488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B769F9E-D078-5A45-9417-1519E7542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607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B769F9E-D078-5A45-9417-1519E7542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STRATEGIES</a:t>
            </a:r>
            <a:r>
              <a:rPr lang="en-US" sz="2400"/>
              <a:t>: 3. RESEARCH GROWTH AS A SLU-WIDE PRIOR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25A29B-65A4-C543-BF86-9D14FB2B5996}"/>
              </a:ext>
            </a:extLst>
          </p:cNvPr>
          <p:cNvSpPr txBox="1"/>
          <p:nvPr/>
        </p:nvSpPr>
        <p:spPr>
          <a:xfrm>
            <a:off x="614658" y="1516260"/>
            <a:ext cx="79773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/>
              <a:t>Accomplishing SLU’s full research vision - and fully realizing its benefits - requires engagement and close collaboration across many parts of the university</a:t>
            </a:r>
            <a:endParaRPr lang="en-US" sz="2000" dirty="0"/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EA5536-FA23-524E-8DB0-308C977610B2}"/>
              </a:ext>
            </a:extLst>
          </p:cNvPr>
          <p:cNvSpPr txBox="1"/>
          <p:nvPr/>
        </p:nvSpPr>
        <p:spPr>
          <a:xfrm>
            <a:off x="486596" y="2721588"/>
            <a:ext cx="7853536" cy="32008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Make research an essential element of </a:t>
            </a:r>
            <a:r>
              <a:rPr lang="en-US" b="1" dirty="0"/>
              <a:t>SLU’s brand </a:t>
            </a:r>
            <a:r>
              <a:rPr lang="en-US" dirty="0"/>
              <a:t>for students, faculty, alumni, donors, and patients</a:t>
            </a:r>
            <a:endParaRPr lang="en-US" dirty="0"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Fully integrate research into the SLU</a:t>
            </a:r>
            <a:r>
              <a:rPr lang="en-US" b="1" dirty="0"/>
              <a:t> student experience </a:t>
            </a:r>
            <a:r>
              <a:rPr lang="en-US" dirty="0"/>
              <a:t>through enrollment, research opportunities, mentoring, and career opportunitie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engthen </a:t>
            </a:r>
            <a:r>
              <a:rPr lang="en-US" b="1" dirty="0"/>
              <a:t>clinical research </a:t>
            </a:r>
            <a:r>
              <a:rPr lang="en-US" dirty="0"/>
              <a:t>and</a:t>
            </a:r>
            <a:r>
              <a:rPr lang="en-US" b="1" dirty="0"/>
              <a:t> basic-clinical collaborations</a:t>
            </a:r>
            <a:r>
              <a:rPr lang="en-US" dirty="0"/>
              <a:t> in partnership with SSM Healt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nsure nimble research-related </a:t>
            </a:r>
            <a:r>
              <a:rPr lang="en-US" b="1" dirty="0"/>
              <a:t>policies and practices </a:t>
            </a:r>
            <a:r>
              <a:rPr lang="en-US" dirty="0"/>
              <a:t>to allow researchers to seize opportunitie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7136A5-AE70-6D41-849B-13B857B4861C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1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331033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29842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4. SOLIDIFY REGIONAL LEADERSHIP RO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4F3F1D-7E4D-FD4F-AC7A-51339DEFEF54}"/>
              </a:ext>
            </a:extLst>
          </p:cNvPr>
          <p:cNvSpPr txBox="1"/>
          <p:nvPr/>
        </p:nvSpPr>
        <p:spPr>
          <a:xfrm>
            <a:off x="588579" y="1624889"/>
            <a:ext cx="8241096" cy="44627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Solidify SLU as a preeminent research university in the St. Louis region - delivering the talent, research, innovation, clinical care that drives the region’s knowledge economy</a:t>
            </a:r>
          </a:p>
          <a:p>
            <a:endParaRPr lang="en-US" dirty="0"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Position SLU as </a:t>
            </a:r>
            <a:r>
              <a:rPr lang="en-US" sz="2000" b="1" dirty="0">
                <a:ea typeface="+mn-lt"/>
                <a:cs typeface="+mn-lt"/>
              </a:rPr>
              <a:t>St. Louis’ lead research, talent, and innovation resource </a:t>
            </a:r>
            <a:r>
              <a:rPr lang="en-US" sz="2000" dirty="0">
                <a:ea typeface="+mn-lt"/>
                <a:cs typeface="+mn-lt"/>
              </a:rPr>
              <a:t>for companies, civic and community organizations, and VC investors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Calibri"/>
              </a:rPr>
              <a:t>Serve as applied research </a:t>
            </a:r>
            <a:r>
              <a:rPr lang="en-US" sz="2000" b="1" dirty="0">
                <a:cs typeface="Calibri"/>
              </a:rPr>
              <a:t>partner with the City and County </a:t>
            </a:r>
            <a:r>
              <a:rPr lang="en-US" sz="2000" dirty="0">
                <a:cs typeface="Calibri"/>
              </a:rPr>
              <a:t>on</a:t>
            </a:r>
            <a:r>
              <a:rPr lang="en-US" sz="2000" dirty="0">
                <a:ea typeface="+mn-lt"/>
                <a:cs typeface="+mn-lt"/>
              </a:rPr>
              <a:t> health disparities, K-12 education, and inclusive prosperity</a:t>
            </a:r>
          </a:p>
          <a:p>
            <a:pPr marL="285750" indent="-285750">
              <a:spcAft>
                <a:spcPts val="1200"/>
              </a:spcAft>
              <a:buFont typeface="Arial,Sans-Serif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Serve</a:t>
            </a:r>
            <a:r>
              <a:rPr lang="en-US" sz="2000" dirty="0"/>
              <a:t> as lead university for </a:t>
            </a:r>
            <a:r>
              <a:rPr lang="en-US" sz="2000" b="1" dirty="0"/>
              <a:t>regional priorities </a:t>
            </a:r>
            <a:r>
              <a:rPr lang="en-US" sz="2000" dirty="0"/>
              <a:t>(e.g. Geospatial Science, Advanced Manufacturing) and collaborate closely with regional research institutions</a:t>
            </a:r>
          </a:p>
          <a:p>
            <a:endParaRPr lang="en-US" dirty="0">
              <a:cs typeface="Calibri"/>
            </a:endParaRP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AF5227-6405-4F49-97BC-B7BE1C3B10F2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2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33653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ENABLING ELEMENTS: A. RESEARCH SUPPO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5A0EE86-A926-5F4D-81D6-9C562C24FEDD}"/>
              </a:ext>
            </a:extLst>
          </p:cNvPr>
          <p:cNvSpPr txBox="1"/>
          <p:nvPr/>
        </p:nvSpPr>
        <p:spPr>
          <a:xfrm>
            <a:off x="557561" y="1400561"/>
            <a:ext cx="8028877" cy="48013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dirty="0"/>
          </a:p>
          <a:p>
            <a:pPr>
              <a:spcAft>
                <a:spcPts val="600"/>
              </a:spcAft>
            </a:pPr>
            <a:r>
              <a:rPr lang="en-US" sz="2000" i="1" dirty="0"/>
              <a:t>Build on research support enhancements from the past five years to address ongoing gaps and build capacities needed for continued growth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xpand </a:t>
            </a:r>
            <a:r>
              <a:rPr lang="en-US" sz="2000" b="1" dirty="0"/>
              <a:t>research support staffing </a:t>
            </a:r>
            <a:r>
              <a:rPr lang="en-US" sz="2000" dirty="0"/>
              <a:t>in parallel with SLU’s growth, and expand training and policy programs in research compliance and safet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Work with Deans and and Associate Deans to </a:t>
            </a:r>
            <a:r>
              <a:rPr lang="en-US" sz="2000" b="1" dirty="0"/>
              <a:t>create Colleges’ five year research plans</a:t>
            </a:r>
            <a:r>
              <a:rPr lang="en-US" sz="2000" dirty="0"/>
              <a:t> including priorities, growth objectives, and support need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nvest in </a:t>
            </a:r>
            <a:r>
              <a:rPr lang="en-US" sz="2000" b="1" dirty="0"/>
              <a:t>research computing </a:t>
            </a:r>
            <a:r>
              <a:rPr lang="en-US" sz="2000" dirty="0"/>
              <a:t>capacity and staff expertise to make scalable and accessible for every disciplin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Create multi-year </a:t>
            </a:r>
            <a:r>
              <a:rPr lang="en-US" sz="2000" b="1" dirty="0"/>
              <a:t>research capital fund </a:t>
            </a:r>
            <a:r>
              <a:rPr lang="en-US" sz="2000" dirty="0"/>
              <a:t>and prioritization process for investments in infrastructure and space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063C49-3EBD-374E-8D2D-7377A42CA2E1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3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18836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ENABLING ELEMENTS: B. PHILANTHROP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935C14-EE47-A64C-8609-4167D458F4FE}"/>
              </a:ext>
            </a:extLst>
          </p:cNvPr>
          <p:cNvSpPr txBox="1"/>
          <p:nvPr/>
        </p:nvSpPr>
        <p:spPr>
          <a:xfrm>
            <a:off x="685800" y="1536093"/>
            <a:ext cx="7772400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Build on momentum generated by $600M campaign, $50M Research Institute gift, and Taylor Geospatial Institute legacy gift to accelerate fundraising capacity for research and innovation priorities</a:t>
            </a:r>
            <a:endParaRPr lang="en-US" sz="2000" i="1" dirty="0">
              <a:cs typeface="Calibri"/>
            </a:endParaRPr>
          </a:p>
          <a:p>
            <a:r>
              <a:rPr lang="en-US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tential Prioriti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ool of Science &amp; Enginee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ool of Medicine  </a:t>
            </a:r>
            <a:endParaRPr lang="en-US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Big Ideas Institutes &amp; College </a:t>
            </a:r>
            <a:r>
              <a:rPr lang="en-US" i="1" dirty="0"/>
              <a:t>Centers of Excell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LU Innovation</a:t>
            </a:r>
            <a:endParaRPr lang="en-US" dirty="0">
              <a:cs typeface="Calibri"/>
            </a:endParaRPr>
          </a:p>
          <a:p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ubpriorities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dowed Professorship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dow Research Institu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tudent &amp; Postdoc Support</a:t>
            </a:r>
          </a:p>
          <a:p>
            <a:pPr lvl="1"/>
            <a:r>
              <a:rPr lang="en-US" sz="1200" dirty="0">
                <a:cs typeface="Calibri"/>
              </a:rPr>
              <a:t>  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E54C17-974D-5D40-9248-2057FCBE609E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4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29391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NABLING ELEMENTS: C. AGGRESSIVELY MARKET SLU RESEARC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BEAA06-A7F4-3448-8233-1C8E05ECF0D5}"/>
              </a:ext>
            </a:extLst>
          </p:cNvPr>
          <p:cNvSpPr/>
          <p:nvPr/>
        </p:nvSpPr>
        <p:spPr>
          <a:xfrm>
            <a:off x="441326" y="1631677"/>
            <a:ext cx="7828318" cy="42011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900" i="1" dirty="0"/>
              <a:t>Build multi-channel marketing and communications strategies to raise SLU’s regional and national profile as an emerging research powerhouse. </a:t>
            </a:r>
          </a:p>
          <a:p>
            <a:endParaRPr lang="en-US" sz="10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Develop and execute strategies that promote research success stories and initiatives, faculty profiles and accomplishments across multiple channels includi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SLU and RI Websi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PR/Earned Med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Social Medi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Print Materials </a:t>
            </a:r>
            <a:r>
              <a:rPr lang="en-US" sz="1700" i="1" dirty="0"/>
              <a:t>(i.e. Annual RI Impact Repor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Direct (emai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Internal/External Events </a:t>
            </a:r>
          </a:p>
          <a:p>
            <a:pPr lvl="1"/>
            <a:endParaRPr lang="en-US" sz="1000" dirty="0"/>
          </a:p>
          <a:p>
            <a:pPr>
              <a:spcAft>
                <a:spcPts val="1200"/>
              </a:spcAft>
            </a:pPr>
            <a:r>
              <a:rPr lang="en-US" dirty="0"/>
              <a:t>Results drive reputation and awareness which enhances student enrollment, faculty recruitment, grant funding, partnerships, clinical care, and philanthropy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0D89E8-E16D-3842-A2ED-3F4567E5B5D3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5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620663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ENABLING ELEMENTS: D. SLU INNOV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A8227A-9563-B54D-A2B7-4BF21DD20872}"/>
              </a:ext>
            </a:extLst>
          </p:cNvPr>
          <p:cNvSpPr txBox="1"/>
          <p:nvPr/>
        </p:nvSpPr>
        <p:spPr>
          <a:xfrm>
            <a:off x="524107" y="1503483"/>
            <a:ext cx="8181586" cy="4708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Position SLU as a university leader in innovation to enhance efforts to recruit the most talented researchers and students and to build partnerships with companies and investors</a:t>
            </a:r>
          </a:p>
          <a:p>
            <a:endParaRPr lang="en-US" sz="2000" dirty="0"/>
          </a:p>
          <a:p>
            <a:pPr marL="285750" indent="-285750">
              <a:spcAft>
                <a:spcPts val="1200"/>
              </a:spcAft>
              <a:buFont typeface="Arial,Sans-Serif" panose="020B0604020202020204" pitchFamily="34" charset="0"/>
              <a:buChar char="•"/>
            </a:pPr>
            <a:r>
              <a:rPr lang="en-US" sz="2000" b="1" dirty="0"/>
              <a:t>Connect and coordinate </a:t>
            </a:r>
            <a:r>
              <a:rPr lang="en-US" sz="2000" dirty="0"/>
              <a:t>SLU’s programs and leaders in entrepreneurship, commercialization, industry partnerships, and career services</a:t>
            </a:r>
            <a:endParaRPr lang="en-US" sz="20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Expand entrepreneurship training </a:t>
            </a:r>
            <a:r>
              <a:rPr lang="en-US" sz="2000" dirty="0"/>
              <a:t>for students and faculty and </a:t>
            </a:r>
            <a:r>
              <a:rPr lang="en-US" sz="2000" b="1" dirty="0"/>
              <a:t>facilitate access </a:t>
            </a:r>
            <a:r>
              <a:rPr lang="en-US" sz="2000" dirty="0"/>
              <a:t>to seed funding, mentors, and capital</a:t>
            </a:r>
            <a:endParaRPr lang="en-US" sz="20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valuate </a:t>
            </a:r>
            <a:r>
              <a:rPr lang="en-US" sz="2000" b="1" dirty="0"/>
              <a:t>processes, policies, and contract templates </a:t>
            </a:r>
            <a:r>
              <a:rPr lang="en-US" sz="2000" dirty="0"/>
              <a:t>to expedite entrepreneurship and industry collaboration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Build expansive </a:t>
            </a:r>
            <a:r>
              <a:rPr lang="en-US" sz="2000" b="1" dirty="0"/>
              <a:t>Anchor Industry Partnerships </a:t>
            </a:r>
            <a:r>
              <a:rPr lang="en-US" sz="2000" dirty="0"/>
              <a:t>for talent, research, innovation collaboration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Calibri"/>
              </a:rPr>
              <a:t>Utilize the </a:t>
            </a:r>
            <a:r>
              <a:rPr lang="en-US" sz="2000" b="1" dirty="0">
                <a:cs typeface="Calibri"/>
              </a:rPr>
              <a:t>COLLAB @ Cortex </a:t>
            </a:r>
            <a:r>
              <a:rPr lang="en-US" sz="2000" dirty="0">
                <a:cs typeface="Calibri"/>
              </a:rPr>
              <a:t>space for showcasing SLU’s innovation asse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4C5B4E-49B2-084A-BA01-EEEAD3065D88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42283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FIVE YEAR RESEARCH GROWTH METRI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70E2DF-D122-1C48-A148-2D33D2636B85}"/>
              </a:ext>
            </a:extLst>
          </p:cNvPr>
          <p:cNvSpPr txBox="1"/>
          <p:nvPr/>
        </p:nvSpPr>
        <p:spPr>
          <a:xfrm>
            <a:off x="304800" y="1441132"/>
            <a:ext cx="8385779" cy="47705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/>
              <a:t>Track key research growth metrics as SLU-wide priority and shared responsibility to achieve Carnegie 1 by 2027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0% Annual Growth in Expenditures - $100M by 2026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8% 2016 to 2022, 13% 2020 to 2022 - Currently $58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op 100 PIs average $600k per year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$455k (was $323k in 2016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60 PIs with more than $100k/year 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107 (was 92 in 2016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6 Institutes/Centers with grant expenditures over $5M/year and/or ranked in top 5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4 – Taylor Geospatial Institute, Center for Vaccine Development, Center for Health Law Studies, Center for Medieval &amp; Renaissance Studies (2 in 2016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20 Faculty one standard deviation above disciplinary mean (RI Fellow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50 Undergraduates engaged in Summer Research programs (ne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urther Scholarly Metrics in developm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0307693-03CC-9143-A283-C440BF5A0461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7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597962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Vision: SLU as a Preeminent Jesuit Research University in St. Loui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57557E-FFA6-0C4C-A832-B67BC79A696B}"/>
              </a:ext>
            </a:extLst>
          </p:cNvPr>
          <p:cNvSpPr txBox="1"/>
          <p:nvPr/>
        </p:nvSpPr>
        <p:spPr>
          <a:xfrm>
            <a:off x="683171" y="1637437"/>
            <a:ext cx="7830207" cy="46782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1st century </a:t>
            </a:r>
            <a:r>
              <a:rPr lang="en-US" sz="2000" b="1" dirty="0">
                <a:solidFill>
                  <a:srgbClr val="053EA5"/>
                </a:solidFill>
              </a:rPr>
              <a:t>CARNEGIE 1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earch university grounded in SLU’s Jesuit miss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oted in </a:t>
            </a:r>
            <a:r>
              <a:rPr lang="en-US" sz="2000" b="1" dirty="0">
                <a:solidFill>
                  <a:srgbClr val="053EA5"/>
                </a:solidFill>
              </a:rPr>
              <a:t>ST. LOUIS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 an </a:t>
            </a:r>
            <a:r>
              <a:rPr lang="en-US" sz="2000" b="1" dirty="0">
                <a:solidFill>
                  <a:srgbClr val="053EA5"/>
                </a:solidFill>
              </a:rPr>
              <a:t>ANCHOR INSTITUTION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generating research, innovation, and talent to fuel the region’s knowledge economy 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53EA5"/>
                </a:solidFill>
              </a:rPr>
              <a:t>DISTINCTIVE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top-ranked </a:t>
            </a:r>
            <a:r>
              <a:rPr lang="en-US" sz="2000" b="1" dirty="0">
                <a:solidFill>
                  <a:srgbClr val="053EA5"/>
                </a:solidFill>
              </a:rPr>
              <a:t>RESEARCH STRENGTH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at address the needs of our city, nation, and world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53EA5"/>
                </a:solidFill>
              </a:rPr>
              <a:t>INNOVATIVE PARTNERSHIP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 universities, investors, companies, community, and civic organizations 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hanced </a:t>
            </a:r>
            <a:r>
              <a:rPr lang="en-US" sz="2000" b="1" dirty="0">
                <a:solidFill>
                  <a:srgbClr val="053EA5"/>
                </a:solidFill>
              </a:rPr>
              <a:t>RESEARCH REPUTATION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rives overall metrics on faculty recruitment, student enrollment, clinical care, and philanthropy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ADFAA7-8A00-964D-B558-BF6E855F33AE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2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5358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-1" y="264246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LU RESEARCH ACCOMPLISHMENTS FROM 2016-20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856CA0-5F24-824D-B042-78363DE692D3}"/>
              </a:ext>
            </a:extLst>
          </p:cNvPr>
          <p:cNvSpPr/>
          <p:nvPr/>
        </p:nvSpPr>
        <p:spPr>
          <a:xfrm>
            <a:off x="347406" y="1293257"/>
            <a:ext cx="7935311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Culture Change – Support, Expectations, Ident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Enhanced research support – strategy, grants, seed funding, computing, innovation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4 Research Councils supporting Scholarship, Health, Science &amp; Engineering, Medicine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hinking of ourselves and acting like a growing research univers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search Institute Gif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-funded hires and retentions, outstanding new faculty recruited across SLU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Investments in faculty, research staff, and infrastructure across all discipline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 Fellows appointment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Big Ideas &amp; Center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8 University-wide, interdisciplinary, faculty-driven, collaborative Institutes 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eadership and prominence in Vaccine Development, especially during Covid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egacy gift to create the Taylor Geospatial Institute, eight university consortium led by SLU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$10M Humanities Endowmen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External Perception of SLU as Research Univers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eightened STL regional profile, partnerships, impac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 Annual Impact Report, RI website, researcher accomplishment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Growth in Scholarly &amp; Scientific Impact and Research Expenditures</a:t>
            </a: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Book and article publication steadily increasing; prestigious faculty awards and appointments; Scholarly Works awards created; Spark Grants, Research Opportunity Funds created to catalyze high impact scholarship and science</a:t>
            </a: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8% CAGR overall, 22% CAGR outside School of Medicine, $21M/year in additional research expenditures and grow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05CB27-33B0-FA46-8CAC-FFA16765B05C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3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16242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D418BB1-20A4-CE40-8BFF-ABDB8826E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D418BB1-20A4-CE40-8BFF-ABDB8826E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SLU RESEARCH EXPENDITURES, 2016-2022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EC22915-491C-9DE1-55C5-EF38EC8E89D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74775" y="2633663"/>
          <a:ext cx="72263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0D6F7E9-5BC0-2241-81BF-18C670B58DA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1960562" y="2016125"/>
            <a:ext cx="6053138" cy="10271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B1002-7005-123E-8010-197BA536124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5995988" y="2185988"/>
            <a:ext cx="2017712" cy="60483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787DCD4-AE9E-0E2E-CE5C-D0C7EE75E0C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826375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1BB0028-5E10-4F69-9495-F9A578F15CA8}" type="datetime'2''''''''''''''''''0''''''''2''''''''''''''''''''''''2'''''">
              <a:rPr lang="en-US" altLang="en-US" sz="1400" smtClean="0">
                <a:solidFill>
                  <a:schemeClr val="tx1"/>
                </a:solidFill>
              </a:rPr>
              <a:pPr/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540B53D-84D2-2F49-91C8-6BA0EA4D7E4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722938" y="30829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84DFAF-19A7-430C-B787-396A59D62B67}" type="datetime'''''''''''''4''6,''0''''''17''''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6,0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69E0B5-4F05-7C4E-8644-46CF3DB2F0C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714875" y="31845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863E7F9-7B89-400D-9949-1EB168F5E30C}" type="datetime'''''''''''''''''''''''''4''''''''''''''3,''''9''''''50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3,95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3CDED351-CDC4-C841-9937-F18E4D95268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732588" y="27400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1A81D0-F1B8-4B5C-8270-5CBB282B6667}" type="datetime'''53'''''''''''''''''''''''''''''''',''''''''0''3''''''''2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3,03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C2F83D9-AE7D-1249-BB80-428B41A6FF6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705224" y="3371850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AF4852-A239-4D52-BB8E-FA2866F5C827}" type="datetime'4''''''''''0,1''''''''1''''''''''''''4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0,11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DD3D892-ED21-9243-A3F2-CCE08D51DB0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808663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713C5C-D4DE-469D-B388-0106D2A3A829}" type="datetime'''''''2''''''0''''''''2''''''0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F25D327-6512-E643-9394-84C6FC7E159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773238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A9DCB4-ADD8-4D0B-8183-B4F30EC544FC}" type="datetime'2''0''''''''''''''''''1''''''''''''''''''6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758E79-FC90-7243-87F0-995B2934B0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187450" y="4759325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46FEF83-C4F3-4474-8804-1ADEAB8B60F2}" type="datetime'''''''''''S''O''''''''''M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AE45645-C984-7F48-862A-EBE2A95561F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31849" y="3843338"/>
            <a:ext cx="706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30F0486-0CC0-44E4-A21C-27B8A4FAC165}" type="datetime'''''''''No''''''''n''''''''''''-''''S''''''''''''''OM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on-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C2A1578-6814-0046-9328-C27C37187D3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4800600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6278428-0525-444B-9A13-8818B613BDBE}" type="datetime'''''''''''2''''''''''''''''''''''01''9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18CEB8A9-AC30-9148-949E-855437AF182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3790950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CAB14D-0F6B-40CA-8A4D-DA4E5F979AFE}" type="datetime'''''2''''0''1''''''''''''''''8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FAB3A42-DC87-394B-BCBF-2F55417A218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697162" y="335597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27856FB-992D-48F1-9AEA-CC3A726A23ED}" type="datetime'''''''''''''''''''''''''4''''''''0'',''''''''4''27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0,42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5EF3B96-C83E-EA45-934E-1F33FA0E773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687512" y="3505200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B555EE1-5174-4BC0-81D9-38692A08B89C}" type="datetime'3''7'''''''''''''''''''''''''''''''''',''''3''9''''4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7,39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B873219-93C1-4C43-9E89-261B9B816F5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6818313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F3F767B-3B4B-4FAE-B261-E63E662312FA}" type="datetime'''''''''''''2''''0''2''''''''''''''''''''''''''''''''''1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DAB413-FD08-D34C-B29E-9487C872D92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782888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33D146-00EA-489E-A208-26058B9651C3}" type="datetime'''''''2''''''''''0''''1''''''''''''7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9B1627C-0D3C-E0DF-CD84-7A17C4D68A6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7740650" y="2478088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006CD2-C208-4E1E-8552-E60B5125AFB9}" type="datetime'''''''''''''5''8'''',''''''''3''''72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8,372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3CC360E9-9AF5-BA42-9732-6EFD18169C8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767263" y="2378075"/>
            <a:ext cx="438150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EAF8C6-F194-44FB-9EE2-DBAA3C3127C2}" type="datetime'+''''''''''''''''''''''''8''''''''''%'''''">
              <a:rPr lang="en-US" altLang="en-US" sz="1400" b="1" smtClean="0">
                <a:solidFill>
                  <a:schemeClr val="tx1"/>
                </a:solidFill>
              </a:rPr>
              <a:pPr/>
              <a:t>+8%</a:t>
            </a:fld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1A3C2EA-C517-44A3-E364-F6DCA559245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721475" y="2336800"/>
            <a:ext cx="5667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076A44-8D72-4204-84C3-EACDF700DAD5}" type="datetime'+''''''''''''''''''''''''''''''1''''3%'''''''''''''''''">
              <a:rPr lang="en-US" altLang="en-US" sz="14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+13%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9B2C95-9449-564B-B395-20DA2EB386ED}"/>
              </a:ext>
            </a:extLst>
          </p:cNvPr>
          <p:cNvSpPr txBox="1"/>
          <p:nvPr/>
        </p:nvSpPr>
        <p:spPr>
          <a:xfrm>
            <a:off x="2529324" y="1794431"/>
            <a:ext cx="3684022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/>
              <a:t>GRANT FUNDING: SOM &amp; NON-SO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C05F75-0264-7E42-8844-27EA04763650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4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12492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7ECED8-9548-7B43-975C-7D8403F53ECB}"/>
              </a:ext>
            </a:extLst>
          </p:cNvPr>
          <p:cNvSpPr txBox="1"/>
          <p:nvPr/>
        </p:nvSpPr>
        <p:spPr>
          <a:xfrm>
            <a:off x="1149813" y="2209121"/>
            <a:ext cx="68443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U RESEARCH: 2022-202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E9266A-E263-E943-AC76-12CF36B5494F}"/>
              </a:ext>
            </a:extLst>
          </p:cNvPr>
          <p:cNvSpPr txBox="1"/>
          <p:nvPr/>
        </p:nvSpPr>
        <p:spPr>
          <a:xfrm>
            <a:off x="2024700" y="3429000"/>
            <a:ext cx="50946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HIEVING ESCAPE VELOCITY</a:t>
            </a:r>
          </a:p>
        </p:txBody>
      </p:sp>
    </p:spTree>
    <p:extLst>
      <p:ext uri="{BB962C8B-B14F-4D97-AF65-F5344CB8AC3E}">
        <p14:creationId xmlns:p14="http://schemas.microsoft.com/office/powerpoint/2010/main" val="1983960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2027 VISION FOR RESEARCH AT SLU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856CA0-5F24-824D-B042-78363DE692D3}"/>
              </a:ext>
            </a:extLst>
          </p:cNvPr>
          <p:cNvSpPr/>
          <p:nvPr/>
        </p:nvSpPr>
        <p:spPr>
          <a:xfrm>
            <a:off x="557048" y="1565136"/>
            <a:ext cx="79353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05CB27-33B0-FA46-8CAC-FFA16765B05C}"/>
              </a:ext>
            </a:extLst>
          </p:cNvPr>
          <p:cNvSpPr/>
          <p:nvPr/>
        </p:nvSpPr>
        <p:spPr>
          <a:xfrm>
            <a:off x="8145661" y="6426348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6</a:t>
            </a:fld>
            <a:endParaRPr 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71FD33-1CF4-2E4F-8427-A5E05266CF33}"/>
              </a:ext>
            </a:extLst>
          </p:cNvPr>
          <p:cNvSpPr txBox="1"/>
          <p:nvPr/>
        </p:nvSpPr>
        <p:spPr>
          <a:xfrm>
            <a:off x="0" y="1400561"/>
            <a:ext cx="8586952" cy="5786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fontAlgn="base"/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By 2027, the experience of being a researcher at SLU will be characterized by:</a:t>
            </a:r>
          </a:p>
          <a:p>
            <a:pPr lvl="1" fontAlgn="base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fontAlgn="base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Vibrant Research Environment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n intense, radically interdisciplinary, diverse intellectual environment made up of mission-driven, collaborative, ambitious faculty, research staff, and studen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xcellent physical and computing research infrastructure together with skilled support staf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igh expectations and recognition for research excellence together with appropriate teaching loads for highly productive researchers </a:t>
            </a:r>
          </a:p>
          <a:p>
            <a:pPr lvl="1"/>
            <a:endParaRPr lang="en-US" sz="1200" dirty="0"/>
          </a:p>
          <a:p>
            <a:pPr lvl="1"/>
            <a:r>
              <a:rPr lang="en-US" sz="1600" b="1" dirty="0"/>
              <a:t>Outstanding Research Supp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alented staff support for exploring new ideas; finding collaborators and building research programs; finding, applying for, and managing grants; compliance and research integr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xpertise in finding diverse federal, philanthropic, and industry funding; building innovative collaborations with external entities; generating impact through publishing, publicizing, and commercializing</a:t>
            </a:r>
          </a:p>
          <a:p>
            <a:pPr lvl="1"/>
            <a:endParaRPr lang="en-US" sz="1200" dirty="0"/>
          </a:p>
          <a:p>
            <a:pPr lvl="1"/>
            <a:r>
              <a:rPr lang="en-US" sz="1600" b="1" dirty="0"/>
              <a:t>Heightened Research Profile &amp; Reput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nhanced regional and national reputation for SLU as one of the leading Catholic research universities, on par with Boston College, close to Georgetown and Notre Da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cognition for SLU’s distinctive top-ranked research strengths that are internally and externally resourced, inclusive, impactful, and account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cognition for SLU’s preeminent individual scholars and scientists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fontAlgn="base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368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FIVE YEAR PLAN: 2022-202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1962B4-2E66-B143-BD4C-E292E3DE0EC5}"/>
              </a:ext>
            </a:extLst>
          </p:cNvPr>
          <p:cNvSpPr/>
          <p:nvPr/>
        </p:nvSpPr>
        <p:spPr>
          <a:xfrm>
            <a:off x="-2" y="1586322"/>
            <a:ext cx="3752193" cy="48873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/>
              <a:t>	STRATEGI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10A371-30D1-1F4A-8F2E-9878B6FFDEBC}"/>
              </a:ext>
            </a:extLst>
          </p:cNvPr>
          <p:cNvSpPr/>
          <p:nvPr/>
        </p:nvSpPr>
        <p:spPr>
          <a:xfrm>
            <a:off x="-3" y="3987123"/>
            <a:ext cx="3752193" cy="48873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/>
              <a:t>	ENABLING ELE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44535A-CEB7-FB46-B2BA-00689473F34C}"/>
              </a:ext>
            </a:extLst>
          </p:cNvPr>
          <p:cNvSpPr/>
          <p:nvPr/>
        </p:nvSpPr>
        <p:spPr>
          <a:xfrm>
            <a:off x="533400" y="2315508"/>
            <a:ext cx="807720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Accelerate Hiring &amp; Retaining Research Intensive Facult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Grow Research Strengths: </a:t>
            </a:r>
            <a:r>
              <a:rPr lang="en-US" i="1" dirty="0">
                <a:latin typeface="Arial" panose="020B0604020202020204" pitchFamily="34" charset="0"/>
              </a:rPr>
              <a:t>Centers of Excellence</a:t>
            </a:r>
            <a:r>
              <a:rPr lang="en-US" dirty="0">
                <a:latin typeface="Arial" panose="020B0604020202020204" pitchFamily="34" charset="0"/>
              </a:rPr>
              <a:t>, Growth Areas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Establish Research Growth as a SLU-wide Priorit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Solidify SLU’s Role as a Leading St. Louis Research Univers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85EE6F-1F26-3D4E-99D8-8AE1DAD43493}"/>
              </a:ext>
            </a:extLst>
          </p:cNvPr>
          <p:cNvSpPr/>
          <p:nvPr/>
        </p:nvSpPr>
        <p:spPr>
          <a:xfrm>
            <a:off x="533400" y="4627686"/>
            <a:ext cx="7934325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Increase Faculty Research Support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Enhance Research Philanthrop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Aggressively Market SLU Research  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Pursue SLU Innov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F1258D-57AE-E342-B36B-39ED4CB4B97A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7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31593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08C43FA-6EB1-7140-9C0D-D570BE16FB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7772400" imgH="10058400" progId="TCLayout.ActiveDocument.1">
                  <p:embed/>
                </p:oleObj>
              </mc:Choice>
              <mc:Fallback>
                <p:oleObj name="think-cell Slide" r:id="rId8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08C43FA-6EB1-7140-9C0D-D570BE16F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LU RESEARCH PATH TO CARNEGIE 1</a:t>
            </a:r>
            <a:endParaRPr lang="en-US" sz="2400" dirty="0"/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9F568A4-BC5E-2904-7980-985E6F5DA5D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2273300" y="3840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5" name="Straight Connector 764">
            <a:extLst>
              <a:ext uri="{FF2B5EF4-FFF2-40B4-BE49-F238E27FC236}">
                <a16:creationId xmlns:a16="http://schemas.microsoft.com/office/drawing/2014/main" id="{992693AC-7643-994D-B693-CAE3DD73BE4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273300" y="32623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E5C89E6-07AF-8D0F-BDBB-99D2A337156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273300" y="21066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2E9CA02-6C4D-2A78-A8F8-A5ABA08490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2273300" y="2973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7F61CB9-BB52-585E-9A64-FB070A55537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273300" y="4129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D9141F5-15D2-B00C-9A84-966CC9F49A7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2273300" y="35512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B7B540E-84EB-D3B3-0E2B-BFC7AACDF3E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273300" y="26844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622A30C1-6B5E-3A76-1752-FCDA6651FC9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2273300" y="23955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3406969-E145-2C38-03FB-EBD4C72A736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273300" y="44180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2" name="Straight Connector 761">
            <a:extLst>
              <a:ext uri="{FF2B5EF4-FFF2-40B4-BE49-F238E27FC236}">
                <a16:creationId xmlns:a16="http://schemas.microsoft.com/office/drawing/2014/main" id="{1BBB369E-0FC8-354E-BFD7-4A497E39DC7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2273300" y="4995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AA19575-347F-5E0D-DAF2-937FC655DB7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2273300" y="47069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3429F8AF-7603-264E-9A16-3EE41C92D3D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2273300" y="5549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7" name="Chart 186">
            <a:extLst>
              <a:ext uri="{FF2B5EF4-FFF2-40B4-BE49-F238E27FC236}">
                <a16:creationId xmlns:a16="http://schemas.microsoft.com/office/drawing/2014/main" id="{A4730269-E213-FA50-B48E-E4A204B450D6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2249488" y="2024063"/>
          <a:ext cx="5618162" cy="360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11991952-B034-BAC2-9A96-AEF84A565A2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884363" y="2289175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93F78C-7D80-490A-AA14-FCA40F9737B7}" type="datetime'''''''''''''''''''1''''''''''''''''''''0''''''''''''''''0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1" name="Text Placeholder 2">
            <a:extLst>
              <a:ext uri="{FF2B5EF4-FFF2-40B4-BE49-F238E27FC236}">
                <a16:creationId xmlns:a16="http://schemas.microsoft.com/office/drawing/2014/main" id="{A2E3517A-A6D6-6A4F-9B6A-7E7D0D0F95D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065338" y="5443538"/>
            <a:ext cx="90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B2CEBD5-9729-4219-B57C-6C56D94089F1}" type="datetime'''''''''''''''''''''''''''''''''''''''''''''''''''0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A526B57-70A5-931F-D49A-ADF3698FE53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974850" y="286702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F07BD1D-6D27-4559-A293-1F820090EC91}" type="datetime'''''''''''''''''''''''''''''''''''9''''''''0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820EAD2-1E45-F43F-E262-3BA4467DF5C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974850" y="431165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FD83F01-0E8F-4430-B872-461CC613807F}" type="datetime'6''''''''''''''''''''''''''''''''''''''5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725DF943-958E-8AD6-1A0F-46C1D4C1AFB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884363" y="2000250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E47052C-3C6D-4ABB-8424-DF99269DF583}" type="datetime'''''''''1''''0''''''''5''''''''''''''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8D537F8-72A6-6FC4-358C-CC419D645A6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974850" y="37338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BB8781D-306A-4391-B8CD-BEA2C9B8DB83}" type="datetime'''''''''''''''''''''''''''''''''''''7''5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21E1D26-9691-2C79-FB3F-C5995E1F1E8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974850" y="344487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4843662-8F69-4308-B2E0-C97F7822DB8C}" type="datetime'''''''''''''''''''''8''''''''''''0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1D6A4B1F-71AF-6A6B-CFFC-771165C02D8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974850" y="25781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7C2EC20-CD64-4577-8180-8EB3AEADAA1F}" type="datetime'''''''''''''''''''''''''''''''9''''''''''''''5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5B7AFAC8-4542-1226-C0B4-F390E32D475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974850" y="460057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D598551-0CBC-45FA-A6A8-4192B97D4450}" type="datetime'''''''''''''''''6''''''''''''''0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B055442-8817-E39B-1AAF-6168C97D877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974850" y="402272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DBB35A6-5FA9-4FC0-8146-06AFB03535BF}" type="datetime'''''''''''''''''''''''''''''''7''''''0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8" name="Text Placeholder 2">
            <a:extLst>
              <a:ext uri="{FF2B5EF4-FFF2-40B4-BE49-F238E27FC236}">
                <a16:creationId xmlns:a16="http://schemas.microsoft.com/office/drawing/2014/main" id="{605E3FA6-3DAB-A043-BDB7-002E693D705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974850" y="315595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EF43117-B7DB-4D8B-BD2A-457579B06424}" type="datetime'''''''''''''''''''8''''''5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55" name="Text Placeholder 2">
            <a:extLst>
              <a:ext uri="{FF2B5EF4-FFF2-40B4-BE49-F238E27FC236}">
                <a16:creationId xmlns:a16="http://schemas.microsoft.com/office/drawing/2014/main" id="{A3001F80-B628-854E-A728-6C5C811ACB8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974850" y="48895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4A7F8F-C972-4F0B-B525-C2D633A84B0A}" type="datetime'''''''''5''''''''''''''5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en-US" sz="1400">
              <a:solidFill>
                <a:schemeClr val="tx1"/>
              </a:solidFill>
            </a:endParaRPr>
          </a:p>
        </p:txBody>
      </p:sp>
      <p:sp useBgFill="1">
        <p:nvSpPr>
          <p:cNvPr id="145" name="Freeform 144">
            <a:extLst>
              <a:ext uri="{FF2B5EF4-FFF2-40B4-BE49-F238E27FC236}">
                <a16:creationId xmlns:a16="http://schemas.microsoft.com/office/drawing/2014/main" id="{45D4B3BA-BC46-44AD-4A5D-A6F73C70F94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406775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1" name="Freeform 150">
            <a:extLst>
              <a:ext uri="{FF2B5EF4-FFF2-40B4-BE49-F238E27FC236}">
                <a16:creationId xmlns:a16="http://schemas.microsoft.com/office/drawing/2014/main" id="{DE1B62DE-0C0E-85C6-F32C-FD90774C174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224463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2" name="Freeform 141">
            <a:extLst>
              <a:ext uri="{FF2B5EF4-FFF2-40B4-BE49-F238E27FC236}">
                <a16:creationId xmlns:a16="http://schemas.microsoft.com/office/drawing/2014/main" id="{5D88EB4E-33A1-4357-9216-985744E29E6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497138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4" name="Freeform 153">
            <a:extLst>
              <a:ext uri="{FF2B5EF4-FFF2-40B4-BE49-F238E27FC236}">
                <a16:creationId xmlns:a16="http://schemas.microsoft.com/office/drawing/2014/main" id="{0F6700D2-5822-FB8F-93DB-E8E4EC90D71E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132513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9" name="Freeform 138">
            <a:extLst>
              <a:ext uri="{FF2B5EF4-FFF2-40B4-BE49-F238E27FC236}">
                <a16:creationId xmlns:a16="http://schemas.microsoft.com/office/drawing/2014/main" id="{096DA1E1-A30C-239E-A5B8-EA7F5B79953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259013" y="52832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8" name="Freeform 147">
            <a:extLst>
              <a:ext uri="{FF2B5EF4-FFF2-40B4-BE49-F238E27FC236}">
                <a16:creationId xmlns:a16="http://schemas.microsoft.com/office/drawing/2014/main" id="{D9DABD6F-5A1D-E920-F804-86FC118CCA8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314825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7" name="Freeform 156">
            <a:extLst>
              <a:ext uri="{FF2B5EF4-FFF2-40B4-BE49-F238E27FC236}">
                <a16:creationId xmlns:a16="http://schemas.microsoft.com/office/drawing/2014/main" id="{D2F0F20B-A9B4-B3C5-B31E-CAC60CFE6D05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042150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Freeform 154">
            <a:extLst>
              <a:ext uri="{FF2B5EF4-FFF2-40B4-BE49-F238E27FC236}">
                <a16:creationId xmlns:a16="http://schemas.microsoft.com/office/drawing/2014/main" id="{4771C06F-EC4E-AAB2-6BD7-28A51D7E042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042150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Freeform 136">
            <a:extLst>
              <a:ext uri="{FF2B5EF4-FFF2-40B4-BE49-F238E27FC236}">
                <a16:creationId xmlns:a16="http://schemas.microsoft.com/office/drawing/2014/main" id="{461C18D8-A739-4493-CCD5-187986650CC1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259013" y="52832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Freeform 151">
            <a:extLst>
              <a:ext uri="{FF2B5EF4-FFF2-40B4-BE49-F238E27FC236}">
                <a16:creationId xmlns:a16="http://schemas.microsoft.com/office/drawing/2014/main" id="{43B804BD-9631-56FF-6DD9-210AF7ECA6F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132513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Freeform 148">
            <a:extLst>
              <a:ext uri="{FF2B5EF4-FFF2-40B4-BE49-F238E27FC236}">
                <a16:creationId xmlns:a16="http://schemas.microsoft.com/office/drawing/2014/main" id="{35BADA27-2FEA-9F31-CEE3-9CEB545C1C16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224463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07F1084F-CD58-67E7-DCC4-7BC872D02676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314825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F81F0207-29AE-CB39-5C08-C1D2E20A1F30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314825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>
            <a:extLst>
              <a:ext uri="{FF2B5EF4-FFF2-40B4-BE49-F238E27FC236}">
                <a16:creationId xmlns:a16="http://schemas.microsoft.com/office/drawing/2014/main" id="{D0F7392C-CBF6-A904-192F-923F6B1B756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042150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1D90BD48-A2DF-41E2-1522-F36AE8D47538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497138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6F1B3F65-19FF-9395-D46B-1D63D3C0BD7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406775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>
            <a:extLst>
              <a:ext uri="{FF2B5EF4-FFF2-40B4-BE49-F238E27FC236}">
                <a16:creationId xmlns:a16="http://schemas.microsoft.com/office/drawing/2014/main" id="{69AA9139-C50B-4012-B8C5-31E0AC0921B9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224463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Freeform 152">
            <a:extLst>
              <a:ext uri="{FF2B5EF4-FFF2-40B4-BE49-F238E27FC236}">
                <a16:creationId xmlns:a16="http://schemas.microsoft.com/office/drawing/2014/main" id="{AD8334C0-78B1-DF78-F0B2-51B8C4805B19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132513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170403A6-1FE2-5693-2792-3CB0B2BE5ED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497138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6621A4B1-810E-A891-87E3-272016FCEBE6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406775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34165E32-B00E-3736-0869-1AE234D1D8DA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259013" y="53403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228210A-94E3-745A-EEE9-A6180310625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492875" y="3262313"/>
            <a:ext cx="768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F6638BDE-2F7B-C349-947D-BCE5C760537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332038" y="3262313"/>
            <a:ext cx="40195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1" name="Right Arrow 670">
            <a:extLst>
              <a:ext uri="{FF2B5EF4-FFF2-40B4-BE49-F238E27FC236}">
                <a16:creationId xmlns:a16="http://schemas.microsoft.com/office/drawing/2014/main" id="{22B9BBC5-22F4-804B-A162-9FD801932E7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 rot="10800000">
            <a:off x="7835900" y="31861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13C8644-1027-905B-CB77-E7775103913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7402513" y="3262313"/>
            <a:ext cx="38258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9065F6D2-F278-8B4C-9AEA-4E3BE3823921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4487863" y="42005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7CC57E7-F1FF-4FBF-A10F-3F5D5CD968A6}" type="datetime'''''''''''''''''''''''''''65'">
              <a:rPr lang="en-US" altLang="en-US" sz="1400" smtClean="0">
                <a:solidFill>
                  <a:schemeClr val="tx1"/>
                </a:solidFill>
              </a:rPr>
              <a:pPr/>
              <a:t>6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5126ADA6-FE3A-6C4E-B714-4364F9EEB3CE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234113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0AB720-529F-4916-A413-AFF284697DA2}" type="datetime'''''''''''''''''''''''''''2''02''''''''''5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9" name="Text Placeholder 2">
            <a:extLst>
              <a:ext uri="{FF2B5EF4-FFF2-40B4-BE49-F238E27FC236}">
                <a16:creationId xmlns:a16="http://schemas.microsoft.com/office/drawing/2014/main" id="{C6128F4D-ACFF-0345-B1D5-4BAD2479D84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305550" y="28924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5540A97-85A7-45CD-BBBB-885007FB6BB8}" type="datetime'''''''''''''''''8''''''''''''''''''''''''''''''7'">
              <a:rPr lang="en-US" altLang="en-US" sz="1400" smtClean="0">
                <a:solidFill>
                  <a:schemeClr val="tx1"/>
                </a:solidFill>
              </a:rPr>
              <a:pPr/>
              <a:t>8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9AAC0BAE-BD9B-8B49-A3F0-F78A8D8CA03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170738" y="1938338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8B7871-13C8-456D-8AF1-8F78CB7F248D}" type="datetime'''''1''''''''04'''''''">
              <a:rPr lang="en-US" altLang="en-US" sz="1400" smtClean="0">
                <a:solidFill>
                  <a:schemeClr val="tx1"/>
                </a:solidFill>
              </a:rPr>
              <a:pPr/>
              <a:t>10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15DDE896-3F9E-209A-B889-36EDD035345A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3579813" y="4584700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617098-A6E6-4214-83B8-D75EC74C31D5}" type="datetime'''''''''''''''''''''''''5''''''8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E675C48B-4B07-0D4A-855D-C19DA46E2ECC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7143750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7D8CB5F-D4C5-4B1C-816F-532E65E87F4A}" type="datetime'2''''0''''''''''''''''''''''''''''''2''''''''''6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4" name="Text Placeholder 2">
            <a:extLst>
              <a:ext uri="{FF2B5EF4-FFF2-40B4-BE49-F238E27FC236}">
                <a16:creationId xmlns:a16="http://schemas.microsoft.com/office/drawing/2014/main" id="{FF833C3E-FD8A-4B42-8188-50D5318E7881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215188" y="4941888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DE98AC4-E8E3-4891-8E96-DC6909FAA3B5}" type="datetime'''''''''''''''''''''''''6''''''''''''''''''''''''''3'''">
              <a:rPr lang="en-US" altLang="en-US" sz="1400" smtClean="0">
                <a:solidFill>
                  <a:schemeClr val="tx1"/>
                </a:solidFill>
              </a:rPr>
              <a:pPr/>
              <a:t>6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3" name="Text Placeholder 2">
            <a:extLst>
              <a:ext uri="{FF2B5EF4-FFF2-40B4-BE49-F238E27FC236}">
                <a16:creationId xmlns:a16="http://schemas.microsoft.com/office/drawing/2014/main" id="{06AFA88B-0826-514A-8D6D-0D940D4D86F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305550" y="4976813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A42073E-6221-402A-B9BB-42AD32747853}" type="datetime'6''''''''''''''''''''''''''2'''''''''''''''''''''''''''''''''">
              <a:rPr lang="en-US" altLang="en-US" sz="1400" smtClean="0">
                <a:solidFill>
                  <a:schemeClr val="tx1"/>
                </a:solidFill>
              </a:rPr>
              <a:pPr/>
              <a:t>6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1DFEAC52-BB8F-AC48-92F8-820BD30F0DA2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5326063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D0921B-5F5C-4B1B-8501-69A5FDF68CA8}" type="datetime'''''''''''''2''''''''0''''''''''''''24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EDF2FDBB-E5EC-E07C-871E-19D8945D12CE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5318125" y="4206875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35FFF99-EC71-4562-8B0B-9056FCAB62CA}" type="datetime'''''''''''''''''''''''''''2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5EEE016B-92D0-2E46-89EB-11FA1EF4B74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4416425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A38497D-9E67-4B64-B56E-A5EC1D594E89}" type="datetime'''''''''''2''''''''''''''''''''02''''''''''''3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1" name="Text Placeholder 2">
            <a:extLst>
              <a:ext uri="{FF2B5EF4-FFF2-40B4-BE49-F238E27FC236}">
                <a16:creationId xmlns:a16="http://schemas.microsoft.com/office/drawing/2014/main" id="{DB25661C-1577-1F4C-8AA6-34231F06E456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4487863" y="5022850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5C446F-3EB4-4572-9998-E7C005B08783}" type="datetime'''''''''''''''''''''''''5''''''''9'''''''">
              <a:rPr lang="en-US" altLang="en-US" sz="1400" smtClean="0">
                <a:solidFill>
                  <a:schemeClr val="tx1"/>
                </a:solidFill>
              </a:rPr>
              <a:pPr/>
              <a:t>59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E4F770B0-22A8-BA4A-B15F-EBA8EEAF9BE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4533900" y="4502150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0DFB2B2-802C-4368-B07E-426AAEF1FE66}" type="datetime'''''''''''3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2" name="Text Placeholder 2">
            <a:extLst>
              <a:ext uri="{FF2B5EF4-FFF2-40B4-BE49-F238E27FC236}">
                <a16:creationId xmlns:a16="http://schemas.microsoft.com/office/drawing/2014/main" id="{AFA9F27D-80F8-FD47-A79D-7B2D7BE536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5397500" y="5011738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AAE5526-A839-4ABE-A4C4-85D7075E1F50}" type="datetime'6''''''''''''''''''''''0'''''''''''''''''''">
              <a:rPr lang="en-US" altLang="en-US" sz="1400" smtClean="0">
                <a:solidFill>
                  <a:schemeClr val="tx1"/>
                </a:solidFill>
              </a:rPr>
              <a:pPr/>
              <a:t>6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6169F1C0-EFC0-CB41-A951-804437D15C8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2598738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04C2382-F820-4CC0-A511-52BD4E87B7AC}" type="datetime'''''''''''''''''''''''''''2''''''0''''21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0" name="Text Placeholder 2">
            <a:extLst>
              <a:ext uri="{FF2B5EF4-FFF2-40B4-BE49-F238E27FC236}">
                <a16:creationId xmlns:a16="http://schemas.microsoft.com/office/drawing/2014/main" id="{666F145D-A101-A340-8903-6C185DF4FF0A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015288" y="31559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tx1"/>
                </a:solidFill>
              </a:rPr>
              <a:t>Carnegie 1</a:t>
            </a: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E795E20F-0A51-D248-B385-C37C72AA12BF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3508375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505252-F88E-4BD9-8B6D-2D0854A20641}" type="datetime'''''''''''2''''022''''''''''''''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8" name="Text Placeholder 2">
            <a:extLst>
              <a:ext uri="{FF2B5EF4-FFF2-40B4-BE49-F238E27FC236}">
                <a16:creationId xmlns:a16="http://schemas.microsoft.com/office/drawing/2014/main" id="{EB36E4D7-AA4C-EF42-865D-0D76EE0D91ED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5397500" y="378777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12286EE-B436-4818-990C-075F4087887D}" type="datetime'''''''''''''''''''''''''''7''''''''''''''2'''''''''''''''">
              <a:rPr lang="en-US" altLang="en-US" sz="1400" smtClean="0">
                <a:solidFill>
                  <a:schemeClr val="tx1"/>
                </a:solidFill>
              </a:rPr>
              <a:pPr/>
              <a:t>7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C75ADD-B916-44F8-ADF0-8523470FC09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2670175" y="48736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511799B-82F9-407E-BD4E-DB7533FE12A0}" type="datetime'''''''''''5''''''''''''''''''''3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A213A3E3-4318-2C4D-8368-74DAF9E0C590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342900" y="471805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EEC50392-16E0-9F47-84E8-22CF05790EFD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42900" y="34004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CEC505AC-3CAE-A34C-A47C-29D0DBF5F98A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342900" y="36639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A2BE3DC5-1AF9-B44B-8691-EE66C1B60B88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342900" y="392747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FA1EA966-47FB-2F4D-A46D-8612CC11218F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342900" y="445452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EC4D7A24-9A03-9F48-9DAE-7219BE962850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342900" y="419100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89E1EF85-6DA7-8D4F-92EB-6E7B23B27DA1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644525" y="4186238"/>
            <a:ext cx="858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70EA23F-EAD8-46E0-B041-C4060EADA06E}" type="datetime'''E''''ng''''''''''''in''e''er''''''''''''''''''i''n''g''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Engineering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CC9629CF-1283-8644-B877-BE0B2939D8E2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644525" y="4713288"/>
            <a:ext cx="687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F903512-2E9D-412B-9244-07914F589C3F}" type="datetime'B''''''a''''s''''e'''''''' ''''''''''+2''%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Base +2%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8CB84A7-7FB5-2A41-A2DE-A550B7868E9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644525" y="3922713"/>
            <a:ext cx="957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BFDDC98-27BA-4B83-AD89-1979B8DC00BE}" type="datetime'Pu''bl''''i''c'''''''''''''''''''' ''Hea''''lth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Public Health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01BA6906-1B6E-8247-87AD-AD87C903B342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644525" y="3659188"/>
            <a:ext cx="539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B312369-6192-448E-B399-2716E5FACB5E}" type="datetime'''''''''''G''e''''''''''''''''o/''''''''''''''C''''''''S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Geo/C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DE12245A-E0FC-754E-AE46-F38A1B647886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644525" y="444976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9DF840E-7AF0-4209-9D70-7AC1B5B842B0}" type="datetime'''''''''''''''''''''''''''''''''''''''''''S''''''''''OM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8F4D1A1B-2A4B-0947-8109-169766E7F782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644525" y="3395663"/>
            <a:ext cx="73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D901435-3D51-4926-8639-865C3AAC4AF4}" type="datetime'''''''C''''''''''h''''''e''''''mist''''''''ry''''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Chemistry</a:t>
            </a:fld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027CBD25-33A3-4043-A08C-CCF28B8933AA}"/>
              </a:ext>
            </a:extLst>
          </p:cNvPr>
          <p:cNvCxnSpPr>
            <a:cxnSpLocks/>
          </p:cNvCxnSpPr>
          <p:nvPr/>
        </p:nvCxnSpPr>
        <p:spPr>
          <a:xfrm flipV="1">
            <a:off x="2815936" y="2897188"/>
            <a:ext cx="5299364" cy="22463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964A61CE-1EBC-2240-9B33-6EA2453DD0A6}"/>
              </a:ext>
            </a:extLst>
          </p:cNvPr>
          <p:cNvSpPr txBox="1"/>
          <p:nvPr/>
        </p:nvSpPr>
        <p:spPr>
          <a:xfrm rot="20218332">
            <a:off x="826118" y="5208072"/>
            <a:ext cx="1162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0% CAG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62F8211-E78A-8A42-91D7-A15D8B7BB72A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8</a:t>
            </a:fld>
            <a:endParaRPr lang="en-US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4E1C81-BF71-B35E-325B-7897D829B260}"/>
              </a:ext>
            </a:extLst>
          </p:cNvPr>
          <p:cNvSpPr txBox="1"/>
          <p:nvPr/>
        </p:nvSpPr>
        <p:spPr>
          <a:xfrm>
            <a:off x="2306179" y="5985558"/>
            <a:ext cx="57091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he 2021 review, there were 39 private R1 universities – next Carnegie classification reviews are in 2024 and 2027</a:t>
            </a:r>
          </a:p>
        </p:txBody>
      </p:sp>
    </p:spTree>
    <p:extLst>
      <p:ext uri="{BB962C8B-B14F-4D97-AF65-F5344CB8AC3E}">
        <p14:creationId xmlns:p14="http://schemas.microsoft.com/office/powerpoint/2010/main" val="3554008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1. RESEARCH INTENSIVE FACUL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4F3F1D-7E4D-FD4F-AC7A-51339DEFEF54}"/>
              </a:ext>
            </a:extLst>
          </p:cNvPr>
          <p:cNvSpPr txBox="1"/>
          <p:nvPr/>
        </p:nvSpPr>
        <p:spPr>
          <a:xfrm>
            <a:off x="588579" y="1534511"/>
            <a:ext cx="8208579" cy="39395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i="1" dirty="0"/>
              <a:t>Accelerate critical mass of high research-intensive faculty</a:t>
            </a:r>
            <a:endParaRPr lang="en-US" sz="2400" dirty="0"/>
          </a:p>
          <a:p>
            <a:pPr fontAlgn="base"/>
            <a:endParaRPr lang="en-US" sz="2000" dirty="0"/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Strategic hiring in growth areas and Centers of Excellence, signature hires in key areas</a:t>
            </a:r>
            <a:endParaRPr lang="en-US" sz="22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Transparent and measurable expectations for research productivity for TT faculty along with graduated teaching and service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cognize, support, and celebrate top researchers as RI Fellows and Endowed Professor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and 90% of our top faculty candidates, and retain 90% of our best researchers</a:t>
            </a:r>
            <a:endParaRPr lang="en-US" sz="2200" dirty="0"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3AF2A1-A468-EF4B-BE91-412338A16D59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9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64853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4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OjtZ0ns5sOIwjQSGKz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Grdb3W92.aA6fSGZzIV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4EJ6XqD1Tcu5BfuILC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hnjrh5PFonCJywA8d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PuLFm5ci_qyCQVCxk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LenqzlK8GCIygt6mgB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2LsoUgEprWvncVZ70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wHVLLqaNwsnqhEyPf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325fAyyE978tcPWtHg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269EwsMP7VIliyNrx1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NpxFoJifCRgrdmupmy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ybqu8meWMrqymJNHyi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fAWTZzHknWpoy_1ziT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ASiW9HxiryYkSJCukN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FKnEUqF.5FBK0L2rHf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EgXC3G.yHBY_lsz0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7poBSbBU9BYmdW7QCr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U4.2ziqaTRo.naH8s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rRsT9Xdofkx7BwddX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xK1xIXooMira56g2U2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TDypkplf2FyiJHxyY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dLKfHGlOmkHtJgjJBj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GdRezUbU8Mc8bGzq7C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kF7B7jR5mn..Oatp.l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v.bGLvfMH7_kJqahbU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nhM4E5cbFZ5l8Lglr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GbNxPU1pF11EebcXgN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WO_DeTVGN0gPWraPmk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nW4O5JNPYSbWSoi7l5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zHF8pdn7wuuc68VBL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LvU5w4IzcyBTRp0vW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q038Sim8GW1qJIX9Ll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rwLI4ajWPcL7Ihu.JZ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tMI9vsBbt4SInYBTH7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xzBFSQnwjcu69o6VaR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G44arB_Btaoz2D49a.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a.t7dNmZeyV.pMeYTv3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r4fC7hHlnQkSon1.w9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RPp13ZiwPPlCQBWfVh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G7WX5zDKM1d5ObRh0a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DWiliwycXiu0BPybX4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ZA4TfQaWdOVv.R.mk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iYeKY60.uOcKBJIjB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G34cY7RG0GqQrJAaS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YVPJu26j8hBBmJ3Xp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NS1fgmbyii2pgiVVm.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a.mJ_FrAv2kMXD5in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kpll1T8uh3Unkmrmsu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Kf9f8EOUGSL3q48Qpt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xHc2VQrFXvvXEuMZf5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XW7jUv.aLjTO.IdDq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eBXkTFEM1DtJQM_BIz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F5NwtsLzA0ymsscpu5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qfmuN5KFixkPu0Jxbn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nfGIyGfewGUfD_Ulbu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ixXO2aAvxv3zevCkX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LlaLab4DBOny2tq7bZ3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LW1N.c0nxynrQdhQfn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qtg_EnC1hRKLRy71h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AlI794vYPB_Xwxp_oU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Umcq7chYSnXOCbWm8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5Iqx3KoKPK.RHiYlwj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sDOsWS6LDVk4bk1NAa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YeA92Utk3X4MhRfMKZ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FFhv5bjecngrWhCEFk3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XnrkbltJXF5gxurXS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qs3qAxvfU6ZDrrnhC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6L87ezyV6B8H7N_wJQS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8bwUe0v5gGi3awfIC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TgxZSZ3KyEs7.hJAtm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lM6Lqo90mtiCds5OR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YHWHcCnMY4b2UVRDb4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xQuAcPTF6hJAT4VYO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YCwNJAcOR4ChPOYa7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4jVtyxlcqjA0adDyL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GY_v9hOMNO1qqGGFVZ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YhW9N8jRbDMXLNu8SQ9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OJxFZPg2.MIWszyLX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A13Lj6hYq4feUooV7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o5fj48wW_mSzX6QAEK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oKeq6tNOyrA_T6Bm3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qcUdY3aLJK1hxaPjt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gzsIVvlkYCWB11dih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oaeYyJUkt8WjU65km2r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h23nMN3fDyu_Q0a7pp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D3z_54tgYCqOadeWI1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I.PpA2G12ofa81.HfE1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SlLOn2EIryDPMd9ki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shg.Vz6LyYcPRRV5a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lqtchVLlSAcE0U.HK8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B35segrw8Zrc5_uHzO5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Tc.gehBQSjb968F4V9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UMYRGfbu7PLsKz4rij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HUl4MoErxmyop.ePV3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HuUMEA8wMeZ82dDxT1W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R6eXDcbYxPJf.GezkZ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nFsviaWLGs7Uiimids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4LojF6JRPoLNK1dYmp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_mXiuavxSJGJarZFj.r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1RYAx9Asf1QU3osRGp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Sh4ExrdNOZkmrV2uO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QQ9va1Beppb7NKqOjjz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5e1a9e3-4e9a-4f5b-8350-796d39cbb8a8">
      <UserInfo>
        <DisplayName>Kenneth Olliff</DisplayName>
        <AccountId>14</AccountId>
        <AccountType/>
      </UserInfo>
      <UserInfo>
        <DisplayName>Anita Borgmeyer</DisplayName>
        <AccountId>22</AccountId>
        <AccountType/>
      </UserInfo>
      <UserInfo>
        <DisplayName>Amy Breuer</DisplayName>
        <AccountId>1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7579C74D2B7A499B352A5B849B31D3" ma:contentTypeVersion="4" ma:contentTypeDescription="Create a new document." ma:contentTypeScope="" ma:versionID="35caba62b548e13d2e34f002933b68df">
  <xsd:schema xmlns:xsd="http://www.w3.org/2001/XMLSchema" xmlns:xs="http://www.w3.org/2001/XMLSchema" xmlns:p="http://schemas.microsoft.com/office/2006/metadata/properties" xmlns:ns2="1c76b2b6-b9e0-4e99-b4fb-48189d445ad5" xmlns:ns3="a5e1a9e3-4e9a-4f5b-8350-796d39cbb8a8" targetNamespace="http://schemas.microsoft.com/office/2006/metadata/properties" ma:root="true" ma:fieldsID="471790178787dbd5086cdab0a934699a" ns2:_="" ns3:_="">
    <xsd:import namespace="1c76b2b6-b9e0-4e99-b4fb-48189d445ad5"/>
    <xsd:import namespace="a5e1a9e3-4e9a-4f5b-8350-796d39cbb8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76b2b6-b9e0-4e99-b4fb-48189d445a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e1a9e3-4e9a-4f5b-8350-796d39cbb8a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2C65C8-C34C-491E-BE3F-876054F8F445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  <ds:schemaRef ds:uri="http://purl.org/dc/elements/1.1/"/>
    <ds:schemaRef ds:uri="a5e1a9e3-4e9a-4f5b-8350-796d39cbb8a8"/>
    <ds:schemaRef ds:uri="1c76b2b6-b9e0-4e99-b4fb-48189d445ad5"/>
  </ds:schemaRefs>
</ds:datastoreItem>
</file>

<file path=customXml/itemProps2.xml><?xml version="1.0" encoding="utf-8"?>
<ds:datastoreItem xmlns:ds="http://schemas.openxmlformats.org/officeDocument/2006/customXml" ds:itemID="{7C69008D-4747-4186-A27F-580DCF6C87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805A3C-408B-4B94-A89F-39128693D4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76b2b6-b9e0-4e99-b4fb-48189d445ad5"/>
    <ds:schemaRef ds:uri="a5e1a9e3-4e9a-4f5b-8350-796d39cbb8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23419</TotalTime>
  <Words>1595</Words>
  <Application>Microsoft Macintosh PowerPoint</Application>
  <PresentationFormat>On-screen Show (4:3)</PresentationFormat>
  <Paragraphs>23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Arial,Sans-Serif</vt:lpstr>
      <vt:lpstr>Calibri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aint Louis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ie Klopmeyer</dc:creator>
  <cp:lastModifiedBy>Amy Breuer</cp:lastModifiedBy>
  <cp:revision>84</cp:revision>
  <cp:lastPrinted>2021-08-26T17:36:19Z</cp:lastPrinted>
  <dcterms:created xsi:type="dcterms:W3CDTF">2015-11-11T21:38:46Z</dcterms:created>
  <dcterms:modified xsi:type="dcterms:W3CDTF">2022-11-01T15:2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7579C74D2B7A499B352A5B849B31D3</vt:lpwstr>
  </property>
</Properties>
</file>